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8" r:id="rId3"/>
    <p:sldId id="259" r:id="rId4"/>
    <p:sldId id="260" r:id="rId5"/>
  </p:sldIdLst>
  <p:sldSz cx="9144000" cy="6858000" type="screen4x3"/>
  <p:notesSz cx="6858000" cy="9144000"/>
  <p:custDataLst>
    <p:tags r:id="rId6"/>
  </p:custDataLst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5" d="100"/>
          <a:sy n="75" d="100"/>
        </p:scale>
        <p:origin x="-988" y="1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16.11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4636453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16.11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257637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16.11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379571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16.11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820995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16.11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16171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16.11.2017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840127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16.11.2017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33157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16.11.2017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369060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9211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16.11.2017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40910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16.11.2017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3772010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16.11.2017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249413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Nesne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57487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9EBED3-374A-4F96-BC0B-324574454037}" type="datetimeFigureOut">
              <a:rPr lang="tr-TR" smtClean="0"/>
              <a:t>16.11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3014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image" Target="../media/image2.emf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oleObject" Target="../embeddings/oleObject4.bin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1.emf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oleObject" Target="../embeddings/oleObject3.bin"/><Relationship Id="rId28" Type="http://schemas.openxmlformats.org/officeDocument/2006/relationships/image" Target="../media/image3.emf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slideLayout" Target="../slideLayouts/slideLayout7.xml"/><Relationship Id="rId27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9" Type="http://schemas.openxmlformats.org/officeDocument/2006/relationships/tags" Target="../tags/tag61.xml"/><Relationship Id="rId21" Type="http://schemas.openxmlformats.org/officeDocument/2006/relationships/tags" Target="../tags/tag43.xml"/><Relationship Id="rId34" Type="http://schemas.openxmlformats.org/officeDocument/2006/relationships/tags" Target="../tags/tag56.xml"/><Relationship Id="rId42" Type="http://schemas.openxmlformats.org/officeDocument/2006/relationships/tags" Target="../tags/tag64.xml"/><Relationship Id="rId47" Type="http://schemas.openxmlformats.org/officeDocument/2006/relationships/tags" Target="../tags/tag69.xml"/><Relationship Id="rId50" Type="http://schemas.openxmlformats.org/officeDocument/2006/relationships/tags" Target="../tags/tag72.xml"/><Relationship Id="rId55" Type="http://schemas.openxmlformats.org/officeDocument/2006/relationships/tags" Target="../tags/tag77.xml"/><Relationship Id="rId63" Type="http://schemas.openxmlformats.org/officeDocument/2006/relationships/tags" Target="../tags/tag85.xml"/><Relationship Id="rId68" Type="http://schemas.openxmlformats.org/officeDocument/2006/relationships/tags" Target="../tags/tag90.xml"/><Relationship Id="rId76" Type="http://schemas.openxmlformats.org/officeDocument/2006/relationships/oleObject" Target="../embeddings/oleObject6.bin"/><Relationship Id="rId7" Type="http://schemas.openxmlformats.org/officeDocument/2006/relationships/tags" Target="../tags/tag29.xml"/><Relationship Id="rId71" Type="http://schemas.openxmlformats.org/officeDocument/2006/relationships/tags" Target="../tags/tag93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9" Type="http://schemas.openxmlformats.org/officeDocument/2006/relationships/tags" Target="../tags/tag51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tags" Target="../tags/tag54.xml"/><Relationship Id="rId37" Type="http://schemas.openxmlformats.org/officeDocument/2006/relationships/tags" Target="../tags/tag59.xml"/><Relationship Id="rId40" Type="http://schemas.openxmlformats.org/officeDocument/2006/relationships/tags" Target="../tags/tag62.xml"/><Relationship Id="rId45" Type="http://schemas.openxmlformats.org/officeDocument/2006/relationships/tags" Target="../tags/tag67.xml"/><Relationship Id="rId53" Type="http://schemas.openxmlformats.org/officeDocument/2006/relationships/tags" Target="../tags/tag75.xml"/><Relationship Id="rId58" Type="http://schemas.openxmlformats.org/officeDocument/2006/relationships/tags" Target="../tags/tag80.xml"/><Relationship Id="rId66" Type="http://schemas.openxmlformats.org/officeDocument/2006/relationships/tags" Target="../tags/tag88.xml"/><Relationship Id="rId74" Type="http://schemas.openxmlformats.org/officeDocument/2006/relationships/tags" Target="../tags/tag96.xml"/><Relationship Id="rId79" Type="http://schemas.openxmlformats.org/officeDocument/2006/relationships/image" Target="../media/image4.emf"/><Relationship Id="rId5" Type="http://schemas.openxmlformats.org/officeDocument/2006/relationships/tags" Target="../tags/tag27.xml"/><Relationship Id="rId61" Type="http://schemas.openxmlformats.org/officeDocument/2006/relationships/tags" Target="../tags/tag83.xml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31" Type="http://schemas.openxmlformats.org/officeDocument/2006/relationships/tags" Target="../tags/tag53.xml"/><Relationship Id="rId44" Type="http://schemas.openxmlformats.org/officeDocument/2006/relationships/tags" Target="../tags/tag66.xml"/><Relationship Id="rId52" Type="http://schemas.openxmlformats.org/officeDocument/2006/relationships/tags" Target="../tags/tag74.xml"/><Relationship Id="rId60" Type="http://schemas.openxmlformats.org/officeDocument/2006/relationships/tags" Target="../tags/tag82.xml"/><Relationship Id="rId65" Type="http://schemas.openxmlformats.org/officeDocument/2006/relationships/tags" Target="../tags/tag87.xml"/><Relationship Id="rId73" Type="http://schemas.openxmlformats.org/officeDocument/2006/relationships/tags" Target="../tags/tag95.xml"/><Relationship Id="rId78" Type="http://schemas.openxmlformats.org/officeDocument/2006/relationships/oleObject" Target="../embeddings/oleObject7.bin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tags" Target="../tags/tag57.xml"/><Relationship Id="rId43" Type="http://schemas.openxmlformats.org/officeDocument/2006/relationships/tags" Target="../tags/tag65.xml"/><Relationship Id="rId48" Type="http://schemas.openxmlformats.org/officeDocument/2006/relationships/tags" Target="../tags/tag70.xml"/><Relationship Id="rId56" Type="http://schemas.openxmlformats.org/officeDocument/2006/relationships/tags" Target="../tags/tag78.xml"/><Relationship Id="rId64" Type="http://schemas.openxmlformats.org/officeDocument/2006/relationships/tags" Target="../tags/tag86.xml"/><Relationship Id="rId69" Type="http://schemas.openxmlformats.org/officeDocument/2006/relationships/tags" Target="../tags/tag91.xml"/><Relationship Id="rId77" Type="http://schemas.openxmlformats.org/officeDocument/2006/relationships/image" Target="../media/image1.emf"/><Relationship Id="rId8" Type="http://schemas.openxmlformats.org/officeDocument/2006/relationships/tags" Target="../tags/tag30.xml"/><Relationship Id="rId51" Type="http://schemas.openxmlformats.org/officeDocument/2006/relationships/tags" Target="../tags/tag73.xml"/><Relationship Id="rId72" Type="http://schemas.openxmlformats.org/officeDocument/2006/relationships/tags" Target="../tags/tag94.xml"/><Relationship Id="rId3" Type="http://schemas.openxmlformats.org/officeDocument/2006/relationships/tags" Target="../tags/tag25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tags" Target="../tags/tag55.xml"/><Relationship Id="rId38" Type="http://schemas.openxmlformats.org/officeDocument/2006/relationships/tags" Target="../tags/tag60.xml"/><Relationship Id="rId46" Type="http://schemas.openxmlformats.org/officeDocument/2006/relationships/tags" Target="../tags/tag68.xml"/><Relationship Id="rId59" Type="http://schemas.openxmlformats.org/officeDocument/2006/relationships/tags" Target="../tags/tag81.xml"/><Relationship Id="rId67" Type="http://schemas.openxmlformats.org/officeDocument/2006/relationships/tags" Target="../tags/tag89.xml"/><Relationship Id="rId20" Type="http://schemas.openxmlformats.org/officeDocument/2006/relationships/tags" Target="../tags/tag42.xml"/><Relationship Id="rId41" Type="http://schemas.openxmlformats.org/officeDocument/2006/relationships/tags" Target="../tags/tag63.xml"/><Relationship Id="rId54" Type="http://schemas.openxmlformats.org/officeDocument/2006/relationships/tags" Target="../tags/tag76.xml"/><Relationship Id="rId62" Type="http://schemas.openxmlformats.org/officeDocument/2006/relationships/tags" Target="../tags/tag84.xml"/><Relationship Id="rId70" Type="http://schemas.openxmlformats.org/officeDocument/2006/relationships/tags" Target="../tags/tag92.xml"/><Relationship Id="rId75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6" Type="http://schemas.openxmlformats.org/officeDocument/2006/relationships/tags" Target="../tags/tag28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36" Type="http://schemas.openxmlformats.org/officeDocument/2006/relationships/tags" Target="../tags/tag58.xml"/><Relationship Id="rId49" Type="http://schemas.openxmlformats.org/officeDocument/2006/relationships/tags" Target="../tags/tag71.xml"/><Relationship Id="rId57" Type="http://schemas.openxmlformats.org/officeDocument/2006/relationships/tags" Target="../tags/tag79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26" Type="http://schemas.openxmlformats.org/officeDocument/2006/relationships/tags" Target="../tags/tag121.xml"/><Relationship Id="rId39" Type="http://schemas.openxmlformats.org/officeDocument/2006/relationships/tags" Target="../tags/tag134.xml"/><Relationship Id="rId21" Type="http://schemas.openxmlformats.org/officeDocument/2006/relationships/tags" Target="../tags/tag116.xml"/><Relationship Id="rId34" Type="http://schemas.openxmlformats.org/officeDocument/2006/relationships/tags" Target="../tags/tag129.xml"/><Relationship Id="rId42" Type="http://schemas.openxmlformats.org/officeDocument/2006/relationships/tags" Target="../tags/tag137.xml"/><Relationship Id="rId47" Type="http://schemas.openxmlformats.org/officeDocument/2006/relationships/tags" Target="../tags/tag142.xml"/><Relationship Id="rId50" Type="http://schemas.openxmlformats.org/officeDocument/2006/relationships/tags" Target="../tags/tag145.xml"/><Relationship Id="rId55" Type="http://schemas.openxmlformats.org/officeDocument/2006/relationships/tags" Target="../tags/tag150.xml"/><Relationship Id="rId63" Type="http://schemas.openxmlformats.org/officeDocument/2006/relationships/tags" Target="../tags/tag158.xml"/><Relationship Id="rId68" Type="http://schemas.openxmlformats.org/officeDocument/2006/relationships/tags" Target="../tags/tag163.xml"/><Relationship Id="rId76" Type="http://schemas.openxmlformats.org/officeDocument/2006/relationships/oleObject" Target="../embeddings/oleObject8.bin"/><Relationship Id="rId7" Type="http://schemas.openxmlformats.org/officeDocument/2006/relationships/tags" Target="../tags/tag102.xml"/><Relationship Id="rId71" Type="http://schemas.openxmlformats.org/officeDocument/2006/relationships/tags" Target="../tags/tag166.xml"/><Relationship Id="rId2" Type="http://schemas.openxmlformats.org/officeDocument/2006/relationships/tags" Target="../tags/tag97.xml"/><Relationship Id="rId16" Type="http://schemas.openxmlformats.org/officeDocument/2006/relationships/tags" Target="../tags/tag111.xml"/><Relationship Id="rId29" Type="http://schemas.openxmlformats.org/officeDocument/2006/relationships/tags" Target="../tags/tag124.xml"/><Relationship Id="rId11" Type="http://schemas.openxmlformats.org/officeDocument/2006/relationships/tags" Target="../tags/tag106.xml"/><Relationship Id="rId24" Type="http://schemas.openxmlformats.org/officeDocument/2006/relationships/tags" Target="../tags/tag119.xml"/><Relationship Id="rId32" Type="http://schemas.openxmlformats.org/officeDocument/2006/relationships/tags" Target="../tags/tag127.xml"/><Relationship Id="rId37" Type="http://schemas.openxmlformats.org/officeDocument/2006/relationships/tags" Target="../tags/tag132.xml"/><Relationship Id="rId40" Type="http://schemas.openxmlformats.org/officeDocument/2006/relationships/tags" Target="../tags/tag135.xml"/><Relationship Id="rId45" Type="http://schemas.openxmlformats.org/officeDocument/2006/relationships/tags" Target="../tags/tag140.xml"/><Relationship Id="rId53" Type="http://schemas.openxmlformats.org/officeDocument/2006/relationships/tags" Target="../tags/tag148.xml"/><Relationship Id="rId58" Type="http://schemas.openxmlformats.org/officeDocument/2006/relationships/tags" Target="../tags/tag153.xml"/><Relationship Id="rId66" Type="http://schemas.openxmlformats.org/officeDocument/2006/relationships/tags" Target="../tags/tag161.xml"/><Relationship Id="rId74" Type="http://schemas.openxmlformats.org/officeDocument/2006/relationships/tags" Target="../tags/tag169.xml"/><Relationship Id="rId79" Type="http://schemas.openxmlformats.org/officeDocument/2006/relationships/image" Target="../media/image5.emf"/><Relationship Id="rId5" Type="http://schemas.openxmlformats.org/officeDocument/2006/relationships/tags" Target="../tags/tag100.xml"/><Relationship Id="rId61" Type="http://schemas.openxmlformats.org/officeDocument/2006/relationships/tags" Target="../tags/tag156.xml"/><Relationship Id="rId10" Type="http://schemas.openxmlformats.org/officeDocument/2006/relationships/tags" Target="../tags/tag105.xml"/><Relationship Id="rId19" Type="http://schemas.openxmlformats.org/officeDocument/2006/relationships/tags" Target="../tags/tag114.xml"/><Relationship Id="rId31" Type="http://schemas.openxmlformats.org/officeDocument/2006/relationships/tags" Target="../tags/tag126.xml"/><Relationship Id="rId44" Type="http://schemas.openxmlformats.org/officeDocument/2006/relationships/tags" Target="../tags/tag139.xml"/><Relationship Id="rId52" Type="http://schemas.openxmlformats.org/officeDocument/2006/relationships/tags" Target="../tags/tag147.xml"/><Relationship Id="rId60" Type="http://schemas.openxmlformats.org/officeDocument/2006/relationships/tags" Target="../tags/tag155.xml"/><Relationship Id="rId65" Type="http://schemas.openxmlformats.org/officeDocument/2006/relationships/tags" Target="../tags/tag160.xml"/><Relationship Id="rId73" Type="http://schemas.openxmlformats.org/officeDocument/2006/relationships/tags" Target="../tags/tag168.xml"/><Relationship Id="rId78" Type="http://schemas.openxmlformats.org/officeDocument/2006/relationships/oleObject" Target="../embeddings/oleObject9.bin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Relationship Id="rId22" Type="http://schemas.openxmlformats.org/officeDocument/2006/relationships/tags" Target="../tags/tag117.xml"/><Relationship Id="rId27" Type="http://schemas.openxmlformats.org/officeDocument/2006/relationships/tags" Target="../tags/tag122.xml"/><Relationship Id="rId30" Type="http://schemas.openxmlformats.org/officeDocument/2006/relationships/tags" Target="../tags/tag125.xml"/><Relationship Id="rId35" Type="http://schemas.openxmlformats.org/officeDocument/2006/relationships/tags" Target="../tags/tag130.xml"/><Relationship Id="rId43" Type="http://schemas.openxmlformats.org/officeDocument/2006/relationships/tags" Target="../tags/tag138.xml"/><Relationship Id="rId48" Type="http://schemas.openxmlformats.org/officeDocument/2006/relationships/tags" Target="../tags/tag143.xml"/><Relationship Id="rId56" Type="http://schemas.openxmlformats.org/officeDocument/2006/relationships/tags" Target="../tags/tag151.xml"/><Relationship Id="rId64" Type="http://schemas.openxmlformats.org/officeDocument/2006/relationships/tags" Target="../tags/tag159.xml"/><Relationship Id="rId69" Type="http://schemas.openxmlformats.org/officeDocument/2006/relationships/tags" Target="../tags/tag164.xml"/><Relationship Id="rId77" Type="http://schemas.openxmlformats.org/officeDocument/2006/relationships/image" Target="../media/image1.emf"/><Relationship Id="rId8" Type="http://schemas.openxmlformats.org/officeDocument/2006/relationships/tags" Target="../tags/tag103.xml"/><Relationship Id="rId51" Type="http://schemas.openxmlformats.org/officeDocument/2006/relationships/tags" Target="../tags/tag146.xml"/><Relationship Id="rId72" Type="http://schemas.openxmlformats.org/officeDocument/2006/relationships/tags" Target="../tags/tag167.xml"/><Relationship Id="rId3" Type="http://schemas.openxmlformats.org/officeDocument/2006/relationships/tags" Target="../tags/tag98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5" Type="http://schemas.openxmlformats.org/officeDocument/2006/relationships/tags" Target="../tags/tag120.xml"/><Relationship Id="rId33" Type="http://schemas.openxmlformats.org/officeDocument/2006/relationships/tags" Target="../tags/tag128.xml"/><Relationship Id="rId38" Type="http://schemas.openxmlformats.org/officeDocument/2006/relationships/tags" Target="../tags/tag133.xml"/><Relationship Id="rId46" Type="http://schemas.openxmlformats.org/officeDocument/2006/relationships/tags" Target="../tags/tag141.xml"/><Relationship Id="rId59" Type="http://schemas.openxmlformats.org/officeDocument/2006/relationships/tags" Target="../tags/tag154.xml"/><Relationship Id="rId67" Type="http://schemas.openxmlformats.org/officeDocument/2006/relationships/tags" Target="../tags/tag162.xml"/><Relationship Id="rId20" Type="http://schemas.openxmlformats.org/officeDocument/2006/relationships/tags" Target="../tags/tag115.xml"/><Relationship Id="rId41" Type="http://schemas.openxmlformats.org/officeDocument/2006/relationships/tags" Target="../tags/tag136.xml"/><Relationship Id="rId54" Type="http://schemas.openxmlformats.org/officeDocument/2006/relationships/tags" Target="../tags/tag149.xml"/><Relationship Id="rId62" Type="http://schemas.openxmlformats.org/officeDocument/2006/relationships/tags" Target="../tags/tag157.xml"/><Relationship Id="rId70" Type="http://schemas.openxmlformats.org/officeDocument/2006/relationships/tags" Target="../tags/tag165.xml"/><Relationship Id="rId75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6" Type="http://schemas.openxmlformats.org/officeDocument/2006/relationships/tags" Target="../tags/tag101.xml"/><Relationship Id="rId15" Type="http://schemas.openxmlformats.org/officeDocument/2006/relationships/tags" Target="../tags/tag110.xml"/><Relationship Id="rId23" Type="http://schemas.openxmlformats.org/officeDocument/2006/relationships/tags" Target="../tags/tag118.xml"/><Relationship Id="rId28" Type="http://schemas.openxmlformats.org/officeDocument/2006/relationships/tags" Target="../tags/tag123.xml"/><Relationship Id="rId36" Type="http://schemas.openxmlformats.org/officeDocument/2006/relationships/tags" Target="../tags/tag131.xml"/><Relationship Id="rId49" Type="http://schemas.openxmlformats.org/officeDocument/2006/relationships/tags" Target="../tags/tag144.xml"/><Relationship Id="rId57" Type="http://schemas.openxmlformats.org/officeDocument/2006/relationships/tags" Target="../tags/tag15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tags" Target="../tags/tag181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171.xml"/><Relationship Id="rId21" Type="http://schemas.openxmlformats.org/officeDocument/2006/relationships/image" Target="../media/image6.emf"/><Relationship Id="rId7" Type="http://schemas.openxmlformats.org/officeDocument/2006/relationships/tags" Target="../tags/tag175.xml"/><Relationship Id="rId12" Type="http://schemas.openxmlformats.org/officeDocument/2006/relationships/tags" Target="../tags/tag180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170.xml"/><Relationship Id="rId16" Type="http://schemas.openxmlformats.org/officeDocument/2006/relationships/tags" Target="../tags/tag184.xml"/><Relationship Id="rId20" Type="http://schemas.openxmlformats.org/officeDocument/2006/relationships/oleObject" Target="../embeddings/oleObject11.bin"/><Relationship Id="rId1" Type="http://schemas.openxmlformats.org/officeDocument/2006/relationships/vmlDrawing" Target="../drawings/vmlDrawing6.vml"/><Relationship Id="rId6" Type="http://schemas.openxmlformats.org/officeDocument/2006/relationships/tags" Target="../tags/tag174.xml"/><Relationship Id="rId11" Type="http://schemas.openxmlformats.org/officeDocument/2006/relationships/tags" Target="../tags/tag179.xml"/><Relationship Id="rId5" Type="http://schemas.openxmlformats.org/officeDocument/2006/relationships/tags" Target="../tags/tag173.xml"/><Relationship Id="rId15" Type="http://schemas.openxmlformats.org/officeDocument/2006/relationships/tags" Target="../tags/tag183.xml"/><Relationship Id="rId10" Type="http://schemas.openxmlformats.org/officeDocument/2006/relationships/tags" Target="../tags/tag178.xml"/><Relationship Id="rId19" Type="http://schemas.openxmlformats.org/officeDocument/2006/relationships/image" Target="../media/image1.emf"/><Relationship Id="rId4" Type="http://schemas.openxmlformats.org/officeDocument/2006/relationships/tags" Target="../tags/tag172.xml"/><Relationship Id="rId9" Type="http://schemas.openxmlformats.org/officeDocument/2006/relationships/tags" Target="../tags/tag177.xml"/><Relationship Id="rId14" Type="http://schemas.openxmlformats.org/officeDocument/2006/relationships/tags" Target="../tags/tag18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Nesne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8944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4" name="think-cell Slide" r:id="rId23" imgW="416" imgH="416" progId="TCLayout.ActiveDocument.1">
                  <p:embed/>
                </p:oleObj>
              </mc:Choice>
              <mc:Fallback>
                <p:oleObj name="think-cell Slide" r:id="rId2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2" name="Nesne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60260399"/>
              </p:ext>
            </p:extLst>
          </p:nvPr>
        </p:nvGraphicFramePr>
        <p:xfrm>
          <a:off x="762000" y="1549400"/>
          <a:ext cx="3048000" cy="30478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5" name="Çizelge" r:id="rId25" imgW="3048000" imgH="3047861" progId="MSGraph.Chart.8">
                  <p:embed followColorScheme="full"/>
                </p:oleObj>
              </mc:Choice>
              <mc:Fallback>
                <p:oleObj name="Çizelge" r:id="rId25" imgW="3048000" imgH="304786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762000" y="1549400"/>
                        <a:ext cx="3048000" cy="30478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etin Yer Tutucusu 11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892300" y="1376363"/>
            <a:ext cx="12271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3E17CB1-C449-4E2B-9A25-6D2F02B8864E}" type="datetime'Di''''''ğ''er'''''''''' ''''D''''ö''v''''i''''z''l''''er'">
              <a:rPr lang="en-US" sz="1600">
                <a:latin typeface="Times New Roman"/>
                <a:cs typeface="Times New Roman"/>
                <a:sym typeface="Times New Roman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iğer Dövizler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" name="Metin Yer Tutucusu 9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19163" y="1444625"/>
            <a:ext cx="9223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43CEB5A-9DA4-4BED-A899-AC7DCC2F0CDC}" type="datetime'''T''''''ü''''''''r''''k Li''''''''''r''''''a''s''''ı'''">
              <a:rPr lang="en-US" sz="1600">
                <a:latin typeface="Times New Roman"/>
                <a:cs typeface="Times New Roman"/>
                <a:sym typeface="Times New Roman"/>
              </a:rPr>
              <a:pPr/>
              <a:t>Türk Lirası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" name="Metin Yer Tutucusu 6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751013" y="1762125"/>
            <a:ext cx="481013" cy="244475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EC0D22-1B8C-41F6-A0BD-285D4A78AAB2}" type="datetime'''''''''''''''''''''''4'''''''',''''''3''''''''''%'''">
              <a:rPr lang="en-US" altLang="en-US" sz="16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,3%</a:t>
            </a:fld>
            <a:endParaRPr lang="tr-TR" sz="16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" name="Metin Yer Tutucusu 8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19100" y="2781300"/>
            <a:ext cx="3952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0184982-177A-4E57-B9EB-BC2B610BF605}" type="datetime'''''''E''''''''''''''''''''''''''''''''u''''''''''''''ro'''''">
              <a:rPr lang="en-US" sz="1600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uro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" name="Metin Yer Tutucusu 4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059113" y="3271838"/>
            <a:ext cx="5826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2D1760-0C8A-4D36-8F48-658D4F115C85}" type="datetime'5''''''''9'',''''''''''''''''''''4''''''''''''''''%'''''''">
              <a:rPr lang="en-US" altLang="en-US" sz="16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9,4%</a:t>
            </a:fld>
            <a:endParaRPr lang="tr-TR" sz="16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" name="Metin Yer Tutucusu 5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74713" y="2830513"/>
            <a:ext cx="5826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DB72BA-B3A1-4C74-9979-46BBB20FAC36}" type="datetime'''''''''''''''''''3''''''''''''''''''''''4'',''''''6''%''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34,6%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" name="Metin Yer Tutucusu 7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378200" y="4025900"/>
            <a:ext cx="9985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0F30944-8E27-4420-8CD0-479CF90D59AE}" type="datetime'''''''''A''B''D'''' ''D''o''''''l''''''''''a''''''''''rı'">
              <a:rPr lang="en-US" sz="1600">
                <a:latin typeface="Times New Roman"/>
                <a:cs typeface="Times New Roman"/>
                <a:sym typeface="Times New Roman"/>
              </a:rPr>
              <a:pPr/>
              <a:t>ABD Doları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1" name="Metin Yer Tutucusu 10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992313" y="2006600"/>
            <a:ext cx="481013" cy="244475"/>
          </a:xfrm>
          <a:prstGeom prst="rect">
            <a:avLst/>
          </a:prstGeom>
          <a:solidFill>
            <a:srgbClr val="FDC70B"/>
          </a:solidFill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B04DC4-DA0B-4949-B331-983D9FFAB202}" type="datetime'''1'''''',''''7''''''''''''''''%''''''''''''''''''''''''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1,7%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13" name="Nesne 12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44613674"/>
              </p:ext>
            </p:extLst>
          </p:nvPr>
        </p:nvGraphicFramePr>
        <p:xfrm>
          <a:off x="5562600" y="1473201"/>
          <a:ext cx="3079624" cy="3073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" name="Çizelge" r:id="rId27" imgW="3079624" imgH="3073215" progId="MSGraph.Chart.8">
                  <p:embed followColorScheme="full"/>
                </p:oleObj>
              </mc:Choice>
              <mc:Fallback>
                <p:oleObj name="Çizelge" r:id="rId27" imgW="3079624" imgH="307321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5562600" y="1473201"/>
                        <a:ext cx="3079624" cy="3073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Metin Yer Tutucusu 9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718050" y="2586038"/>
            <a:ext cx="9223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FDFBD34-AF4B-4A93-8794-40C7457924FE}" type="datetime'''''Tü''''''''r''''k'''''''' ''''''''Li''''''''''''''r''ası'">
              <a:rPr lang="en-US" sz="1600">
                <a:latin typeface="Times New Roman"/>
                <a:cs typeface="Times New Roman"/>
                <a:sym typeface="Times New Roman"/>
              </a:rPr>
              <a:pPr/>
              <a:t>Türk Lirası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7" name="Metin Yer Tutucusu 4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956550" y="2803525"/>
            <a:ext cx="5826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EEB8A5-B1B8-483E-9780-AC62FD007851}" type="datetime'''''''4''''''7'''''''',''''7''''''''%'''''">
              <a:rPr lang="en-US" altLang="en-US" sz="16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7,7%</a:t>
            </a:fld>
            <a:endParaRPr lang="tr-TR" sz="16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" name="Metin Yer Tutucusu 5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034088" y="3713163"/>
            <a:ext cx="5826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2E5930-E111-4E57-9751-32A4BA34B945}" type="datetime'''2''''8,''''''''''''''''6''''''''''''''%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28,6%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" name="Metin Yer Tutucusu 11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484938" y="1300163"/>
            <a:ext cx="12271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8ABB298-995D-45D0-B5D4-4FBF07A1E267}" type="datetime'''''Di''ğe''''r'' ''''''''Döv''i''z''''''l''''''''''''''er'">
              <a:rPr lang="en-US" sz="1600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iğer Dövizler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" name="Metin Yer Tutucusu 7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235950" y="3944938"/>
            <a:ext cx="9985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540A51-B235-4B5E-B06E-4E58746D27C3}" type="datetime'''''''''''''''A''''B''D'''''''''' ''D''ol''''''a''''rı'''''''">
              <a:rPr lang="en-US" sz="1600">
                <a:latin typeface="Times New Roman"/>
                <a:cs typeface="Times New Roman"/>
                <a:sym typeface="Times New Roman"/>
              </a:rPr>
              <a:pPr/>
              <a:t>ABD Doları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" name="Metin Yer Tutucusu 10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61175" y="1609725"/>
            <a:ext cx="481013" cy="244475"/>
          </a:xfrm>
          <a:prstGeom prst="rect">
            <a:avLst/>
          </a:prstGeom>
          <a:solidFill>
            <a:srgbClr val="FDC70B"/>
          </a:solidFill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990288-4C27-4026-9F6B-8AF9FA98D8C4}" type="datetime'0'''',''2''''''''''''''''''''''''''''%''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0,2%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" name="Metin Yer Tutucusu 8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711825" y="4071938"/>
            <a:ext cx="3952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DF2A60F-5A2F-485E-B5E5-CA63B8C71AD6}" type="datetime'''''''''''''E''''''''''''u''''r''''o'''''''">
              <a:rPr lang="en-US" sz="1600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uro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" name="Metin Yer Tutucusu 6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042025" y="2047875"/>
            <a:ext cx="5826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07FCB2-2766-4BCB-8F14-C07849D2C309}" type="datetime'''''''''''''''''''''''2''''''''''''3,4''''''%'''''''''''''''">
              <a:rPr lang="en-US" altLang="en-US" sz="16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3,4%</a:t>
            </a:fld>
            <a:endParaRPr lang="tr-TR" sz="16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2" name="Metin kutusu 21"/>
          <p:cNvSpPr txBox="1"/>
          <p:nvPr/>
        </p:nvSpPr>
        <p:spPr>
          <a:xfrm>
            <a:off x="343693" y="858691"/>
            <a:ext cx="4112361" cy="33855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zun vadeli kredilerin döviz kompozisyonu</a:t>
            </a:r>
            <a:endParaRPr lang="tr-TR" sz="16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Metin kutusu 22"/>
          <p:cNvSpPr txBox="1"/>
          <p:nvPr/>
        </p:nvSpPr>
        <p:spPr>
          <a:xfrm>
            <a:off x="4914899" y="838200"/>
            <a:ext cx="4112361" cy="33855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ısa vadeli kredilerin döviz kompozisyonu</a:t>
            </a:r>
            <a:endParaRPr lang="tr-TR" sz="16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Dikdörtgen 23"/>
          <p:cNvSpPr/>
          <p:nvPr/>
        </p:nvSpPr>
        <p:spPr>
          <a:xfrm>
            <a:off x="228600" y="703263"/>
            <a:ext cx="4381394" cy="4021137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5" name="Dikdörtgen 24"/>
          <p:cNvSpPr/>
          <p:nvPr/>
        </p:nvSpPr>
        <p:spPr>
          <a:xfrm>
            <a:off x="4719639" y="710406"/>
            <a:ext cx="4576762" cy="4021137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562850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Nesne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6341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0" name="think-cell Slide" r:id="rId76" imgW="416" imgH="416" progId="TCLayout.ActiveDocument.1">
                  <p:embed/>
                </p:oleObj>
              </mc:Choice>
              <mc:Fallback>
                <p:oleObj name="think-cell Slide" r:id="rId7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ikdörtgen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4" name="Nesne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96167506"/>
              </p:ext>
            </p:extLst>
          </p:nvPr>
        </p:nvGraphicFramePr>
        <p:xfrm>
          <a:off x="152400" y="1219201"/>
          <a:ext cx="8991704" cy="3416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1" name="Çizelge" r:id="rId78" imgW="8991704" imgH="3416115" progId="MSGraph.Chart.8">
                  <p:embed followColorScheme="full"/>
                </p:oleObj>
              </mc:Choice>
              <mc:Fallback>
                <p:oleObj name="Çizelge" r:id="rId78" imgW="8991704" imgH="341611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2400" y="1219201"/>
                        <a:ext cx="8991704" cy="3416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4" name="Düz Bağlayıcı 183"/>
          <p:cNvCxnSpPr/>
          <p:nvPr>
            <p:custDataLst>
              <p:tags r:id="rId5"/>
            </p:custDataLst>
          </p:nvPr>
        </p:nvCxnSpPr>
        <p:spPr bwMode="auto">
          <a:xfrm>
            <a:off x="1663700" y="1600199"/>
            <a:ext cx="0" cy="317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Düz Bağlayıcı 4"/>
          <p:cNvCxnSpPr/>
          <p:nvPr>
            <p:custDataLst>
              <p:tags r:id="rId6"/>
            </p:custDataLst>
          </p:nvPr>
        </p:nvCxnSpPr>
        <p:spPr bwMode="auto">
          <a:xfrm flipV="1">
            <a:off x="298450" y="1635125"/>
            <a:ext cx="107950" cy="1047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Düz Bağlayıcı 9"/>
          <p:cNvCxnSpPr/>
          <p:nvPr>
            <p:custDataLst>
              <p:tags r:id="rId7"/>
            </p:custDataLst>
          </p:nvPr>
        </p:nvCxnSpPr>
        <p:spPr bwMode="auto">
          <a:xfrm>
            <a:off x="6550025" y="1600200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Düz Bağlayıcı 193"/>
          <p:cNvCxnSpPr/>
          <p:nvPr>
            <p:custDataLst>
              <p:tags r:id="rId8"/>
            </p:custDataLst>
          </p:nvPr>
        </p:nvCxnSpPr>
        <p:spPr bwMode="auto">
          <a:xfrm>
            <a:off x="2749550" y="1600200"/>
            <a:ext cx="0" cy="317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Düz Bağlayıcı 188"/>
          <p:cNvCxnSpPr/>
          <p:nvPr>
            <p:custDataLst>
              <p:tags r:id="rId9"/>
            </p:custDataLst>
          </p:nvPr>
        </p:nvCxnSpPr>
        <p:spPr bwMode="auto">
          <a:xfrm>
            <a:off x="2206625" y="1600199"/>
            <a:ext cx="0" cy="317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Düz Bağlayıcı 199"/>
          <p:cNvCxnSpPr/>
          <p:nvPr>
            <p:custDataLst>
              <p:tags r:id="rId10"/>
            </p:custDataLst>
          </p:nvPr>
        </p:nvCxnSpPr>
        <p:spPr bwMode="auto">
          <a:xfrm>
            <a:off x="3292475" y="1600200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Düz Bağlayıcı 22"/>
          <p:cNvCxnSpPr/>
          <p:nvPr>
            <p:custDataLst>
              <p:tags r:id="rId11"/>
            </p:custDataLst>
          </p:nvPr>
        </p:nvCxnSpPr>
        <p:spPr bwMode="auto">
          <a:xfrm flipH="1">
            <a:off x="8921750" y="1625600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Düz Bağlayıcı 5"/>
          <p:cNvCxnSpPr/>
          <p:nvPr>
            <p:custDataLst>
              <p:tags r:id="rId12"/>
            </p:custDataLst>
          </p:nvPr>
        </p:nvCxnSpPr>
        <p:spPr bwMode="auto">
          <a:xfrm>
            <a:off x="3835400" y="1600199"/>
            <a:ext cx="0" cy="381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Düz Bağlayıcı 6"/>
          <p:cNvCxnSpPr/>
          <p:nvPr>
            <p:custDataLst>
              <p:tags r:id="rId13"/>
            </p:custDataLst>
          </p:nvPr>
        </p:nvCxnSpPr>
        <p:spPr bwMode="auto">
          <a:xfrm>
            <a:off x="6007100" y="1600200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Düz Bağlayıcı 8"/>
          <p:cNvCxnSpPr/>
          <p:nvPr>
            <p:custDataLst>
              <p:tags r:id="rId14"/>
            </p:custDataLst>
          </p:nvPr>
        </p:nvCxnSpPr>
        <p:spPr bwMode="auto">
          <a:xfrm>
            <a:off x="5464175" y="1600200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Düz Bağlayıcı 178"/>
          <p:cNvCxnSpPr/>
          <p:nvPr>
            <p:custDataLst>
              <p:tags r:id="rId15"/>
            </p:custDataLst>
          </p:nvPr>
        </p:nvCxnSpPr>
        <p:spPr bwMode="auto">
          <a:xfrm>
            <a:off x="1120775" y="1600201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Düz Bağlayıcı 13"/>
          <p:cNvCxnSpPr/>
          <p:nvPr>
            <p:custDataLst>
              <p:tags r:id="rId16"/>
            </p:custDataLst>
          </p:nvPr>
        </p:nvCxnSpPr>
        <p:spPr bwMode="auto">
          <a:xfrm>
            <a:off x="8721725" y="1600200"/>
            <a:ext cx="0" cy="317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Düz Bağlayıcı 7"/>
          <p:cNvCxnSpPr/>
          <p:nvPr>
            <p:custDataLst>
              <p:tags r:id="rId17"/>
            </p:custDataLst>
          </p:nvPr>
        </p:nvCxnSpPr>
        <p:spPr bwMode="auto">
          <a:xfrm>
            <a:off x="4921250" y="1600199"/>
            <a:ext cx="0" cy="381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Düz Bağlayıcı 105"/>
          <p:cNvCxnSpPr/>
          <p:nvPr>
            <p:custDataLst>
              <p:tags r:id="rId18"/>
            </p:custDataLst>
          </p:nvPr>
        </p:nvCxnSpPr>
        <p:spPr bwMode="auto">
          <a:xfrm>
            <a:off x="577850" y="1600200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Düz Bağlayıcı 10"/>
          <p:cNvCxnSpPr/>
          <p:nvPr>
            <p:custDataLst>
              <p:tags r:id="rId19"/>
            </p:custDataLst>
          </p:nvPr>
        </p:nvCxnSpPr>
        <p:spPr bwMode="auto">
          <a:xfrm>
            <a:off x="4378325" y="1600199"/>
            <a:ext cx="0" cy="381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Düz Bağlayıcı 21"/>
          <p:cNvCxnSpPr/>
          <p:nvPr>
            <p:custDataLst>
              <p:tags r:id="rId20"/>
            </p:custDataLst>
          </p:nvPr>
        </p:nvCxnSpPr>
        <p:spPr bwMode="auto">
          <a:xfrm>
            <a:off x="7092950" y="1600200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Düz Bağlayıcı 28"/>
          <p:cNvCxnSpPr/>
          <p:nvPr>
            <p:custDataLst>
              <p:tags r:id="rId21"/>
            </p:custDataLst>
          </p:nvPr>
        </p:nvCxnSpPr>
        <p:spPr bwMode="auto">
          <a:xfrm>
            <a:off x="7635875" y="1600200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Düz Bağlayıcı 257"/>
          <p:cNvCxnSpPr/>
          <p:nvPr>
            <p:custDataLst>
              <p:tags r:id="rId22"/>
            </p:custDataLst>
          </p:nvPr>
        </p:nvCxnSpPr>
        <p:spPr bwMode="auto">
          <a:xfrm>
            <a:off x="8178800" y="1600200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Metin Yer Tutucusu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905750" y="35337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AD1B53-27D8-474F-94CF-3456EDD2981D}" type="datetime'''''''''''5''''''''8,''''''''''''''''''''''5''''''''''''%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8,5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86" name="Metin Yer Tutucusu 194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-227013" y="1625600"/>
            <a:ext cx="500063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188E5EB-B5F7-47BA-A15C-A5E7BA6E7B46}" type="datetime'''''''''T''''''''a''''''''r''''''''''''ı''''''''''''''''m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arım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3" name="Metin Yer Tutucusu 193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493125" y="4594225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33C047-E8CD-4CCE-A79C-EB976D129EBB}" type="datetime'20''''''''17''''''-''''''''''''''Q3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7-Q3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5" name="Metin Yer Tutucusu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448675" y="21113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1EFDF7-6003-4828-A345-7E719BC7154B}" type="datetime'''''''''''''''''''''''''4''''0'''''',''''''''9''''''%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0,9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" name="Metin Yer Tutucusu 1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175750" y="1511300"/>
            <a:ext cx="4445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A775420-403B-4B50-BAC6-D511A3660DD3}" type="datetime'''''''''''''''''''''''''''''''''''''10''''''''''0%'''''''''''">
              <a:rPr lang="en-US" sz="1500">
                <a:latin typeface="Times New Roman"/>
                <a:cs typeface="Times New Roman"/>
                <a:sym typeface="Times New Roman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87" name="Metin Yer Tutucusu 195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-277813" y="2346325"/>
            <a:ext cx="550863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2C22178-DEAB-4EC4-907A-6B26C24DD805}" type="datetime'''''''''S''''''a''''''''''n''''ay''''''''i''''''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anayi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4" name="Metin Yer Tutucusu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448675" y="35337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30FF5D-13DB-4A62-AACF-6DC6B87C4E97}" type="datetime'''''''''58'''''''''''''''''''''',''5''''%''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8,5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09" name="Metin Yer Tutucusu 193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950200" y="4594225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F9DDD3-2A5A-41FC-9A31-52A40C8922C3}" type="datetime'''''''''20''''''''''1''7''''''''''''''-''''''Q''''''''2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7-Q2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88" name="Metin Yer Tutucusu 196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-538163" y="3765550"/>
            <a:ext cx="811213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C4A6D03-429E-4B17-A707-C94AFFD3413D}" type="datetime'H''''i''''''''''''z''''m''''''''e''''''t''''l''e''r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Hizmetler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5" name="Metin Yer Tutucusu 120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476500" y="21748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1B0E1-ACC8-4B5B-B636-92094CC87AB1}" type="datetime'4''''5'''''''''''''''',''''''''4%''''''''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5,4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85" name="Metin Yer Tutucusu 193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095625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AF4438-2463-4558-BEDD-A3AB11422BC9}" type="datetime'''''''''''''''''''''''2''''''''0''''0''''9'''">
              <a:rPr lang="en-US" altLang="en-US" sz="1500" b="1">
                <a:latin typeface="Times New Roman"/>
                <a:cs typeface="Times New Roman"/>
                <a:sym typeface="Times New Roman"/>
              </a:rPr>
              <a:pPr/>
              <a:t>2009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9" name="Metin Yer Tutucusu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105275" y="36099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5BC2F6-C3D2-4AE6-A0A5-2DAC29F41CF1}" type="datetime'''''''''5''''''3,''''''1''''''''''''''''''''''''%''''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3,1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6" name="Metin Yer Tutucusu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562350" y="361632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C470F4-3184-4B21-8126-B57FDF9B9256}" type="datetime'''''''5''''2'''''''''',''''''''''''''''''''''''6''''%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2,6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5" name="Metin Yer Tutucusu 110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47725" y="37465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327D52-99B3-4750-8963-B78E54101D4E}" type="datetime'''4''''''3'''''''''',''''''''''''''''''''''''''6%''''''''''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43,6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84" name="Metin Yer Tutucusu 19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55270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705030-27E8-408F-90BB-1560DF027141}" type="datetime'''''2''00''''''''''''''''''''''''8'''''''''">
              <a:rPr lang="en-US" altLang="en-US" sz="1500" b="1">
                <a:latin typeface="Times New Roman"/>
                <a:cs typeface="Times New Roman"/>
                <a:sym typeface="Times New Roman"/>
              </a:rPr>
              <a:pPr/>
              <a:t>2008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4" name="Metin Yer Tutucusu 119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476500" y="35972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8FD492-F946-4715-ABC3-E79ED4F32C37}" type="datetime'''''''''''''''54'''''''',''''''''''''''1''''''''''''%''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54,1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5" name="Metin Yer Tutucusu 193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187825" y="4594225"/>
            <a:ext cx="382588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61856C-6F2E-4768-8BF6-F0284C68B9E8}" type="datetime'2''0''''''''''''''1''''''''''''''''1''''''''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1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1" name="Metin Yer Tutucusu 116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933575" y="359092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36DB8A-EA3F-4A59-93A8-8B736B7F5C86}" type="datetime'''''''''''54,''''''''''''''5''''''''''''''''''''''''%''''''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54,5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00" name="Metin Yer Tutucusu 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105275" y="21939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58531D-1E59-40E0-A598-AC103039B3DD}" type="datetime'''''''''''''4''''''''6,''''0%''''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6,0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4" name="Metin Yer Tutucusu 193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63855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92C679-DC11-4D64-9CA0-58B4192BCE9C}" type="datetime'''''''20''''''''''''10''''''''''''''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0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82" name="Metin Yer Tutucusu 190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46685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D94D90-D9D5-46CB-97EF-35F33A8D3E9D}" type="datetime'''''''''''''''''''2''''''''''''''''''''0''''''0''''''6'''''''">
              <a:rPr lang="en-US" altLang="en-US" sz="1500" b="1">
                <a:latin typeface="Times New Roman"/>
                <a:cs typeface="Times New Roman"/>
                <a:sym typeface="Times New Roman"/>
              </a:rPr>
              <a:pPr/>
              <a:t>2006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7" name="Metin Yer Tutucusu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562350" y="22002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896F8D-178D-4D5C-A72F-451F693670DE}" type="datetime'''''''46'''''''''''''''''''''''''''''''''',''6''%''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6,6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9" name="Metin Yer Tutucusu 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5734050" y="220345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255058-4ED5-44B8-81E9-B5B53F5BBAD3}" type="datetime'''''''''47'''''''''''''''',''''''1''''%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7,1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6" name="Metin Yer Tutucusu 193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72440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FD72F3-D9A4-4A42-92A8-29AA841DC83A}" type="datetime'''''''''''''''''''''''''2''''''''''01''2''''''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2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4" name="Metin Yer Tutucusu 2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6276975" y="35718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9797BE-0D53-4718-AA56-E322D0D57380}" type="datetime'''''''''''5''''''5'''''',''''''9''''''''''''''''''''''%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5,9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0" name="Metin Yer Tutucusu 2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4648200" y="36322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B5AD10-DDE3-47D2-BC17-31866AA6CA59}" type="datetime'51'',''''''''''''''''''''''''''''''6''''''''''%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1,6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7" name="Metin Yer Tutucusu 2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648200" y="221615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DDB2E2-CCBB-42E9-9BC8-C5B17093CD71}" type="datetime'''4''''''''''''''''''''''''''7'''''''''''''',''''5''''''''''%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7,5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11" name="Metin Yer Tutucusu 2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7362825" y="212090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CC75D2-5430-442F-93D4-32752DCC620D}" type="datetime'''''''''4''1'''''''''''',''''''''''''3''''''%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1,3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8" name="Metin Yer Tutucusu 2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5734050" y="36226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21DFBF-E0B1-4901-A4DF-C02CAA556FEF}" type="datetime'''''''''''''52'''''''',''''''''''''''''''''''''1''''%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2,1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2" name="Metin Yer Tutucusu 2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5191125" y="363855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ED1E62-257D-4B41-985B-4470178E15A4}" type="datetime'''''''''''5''1,''''''''''''''''''''2''''''''''''''''%''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1,2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2" name="Metin Yer Tutucusu 193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353175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96B690-1BE5-4309-BD9A-6AB32F2EA75D}" type="datetime'''''''''''''''''''''''''''''2''''0''''''1''''''''5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5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83" name="Metin Yer Tutucusu 191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2009775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F1CE25-2F54-48AB-9949-56102D29FDE0}" type="datetime'''2''''''''''0''''''''''''''''''''''''''''''0''''''7'''''">
              <a:rPr lang="en-US" altLang="en-US" sz="1500" b="1">
                <a:latin typeface="Times New Roman"/>
                <a:cs typeface="Times New Roman"/>
                <a:sym typeface="Times New Roman"/>
              </a:rPr>
              <a:pPr/>
              <a:t>2007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01" name="Metin Yer Tutucusu 2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6819900" y="353695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6352FF-ECE9-4D69-AF2C-2CCD1CCD3412}" type="datetime'''5''''''''8'''',''2''''''''''''''''''''''''%'''''''''">
              <a:rPr lang="tr-TR" altLang="en-US" sz="1500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,2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2" name="Metin Yer Tutucusu 193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689610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0E5283-CC69-43D9-8364-23B1BABE3873}" type="datetime'''''''2''''''''''''''''01''''''6''''''''''''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6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02" name="Metin Yer Tutucusu 2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6819900" y="21177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934E2A-E4F9-47AB-8D4F-DB3DA3DE32FA}" type="datetime'''''''''4''''1'''''''''''''''',''2''''''''''''''''''%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,2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10" name="Metin Yer Tutucusu 2"/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7362825" y="354012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6DC65C-59D1-407D-AA7C-45150BD98F64}" type="datetime'''''''''''''''58,''''''''''1''''''''''''''''''''''''''''%''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8,1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5" name="Metin Yer Tutucusu 2"/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6276975" y="215265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515D5D-5B05-47E0-B052-383EC2BCB9A3}" type="datetime'''4''''''3'',''''''''''''''''''''''''''''''5''''''%''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3,5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1" name="Metin Yer Tutucusu 193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581025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F195AD-15F4-4C72-BA34-C06F639BB3EE}" type="datetime'''''2''''''''''0''''''''''''''''''''1''''''4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4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08" name="Metin Yer Tutucusu 193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7407275" y="4594225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BC1360-C397-48E3-B9CA-3C992F31AEBE}" type="datetime'''''''''2''''''0''17''''''''''-''''''''''''Q''''''''1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7-Q1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13" name="Metin Yer Tutucusu 2"/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7905750" y="211455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168C9C-E4E4-4DC0-B1F9-6056C0CACDC8}" type="datetime'''4''0'''''''''''''',9%''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0,9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8" name="Metin Yer Tutucusu 113"/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390650" y="371792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3375B6-0C05-40F0-A5C2-B08DF872C456}" type="datetime'4''''''''''5'''''''''''''''''''''''',''''''''''''''6''''''%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45,6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8" name="Metin Yer Tutucusu 123"/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3019425" y="21875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16C870-6CAF-4EB1-A876-84AE1EBE7993}" type="datetime'''''''''4''''''''''''''6'''',''''''''''1%''''''''''''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6,1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9" name="Metin Yer Tutucusu 114"/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1390650" y="22955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9ACA50-5FC0-46AD-8EA5-27BD16454BA6}" type="datetime'''''''''5''''3'''''''',''9''''%''''''''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3,9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2" name="Metin Yer Tutucusu 117"/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1933575" y="21685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5B0815-0B87-4F00-A99D-FDF1780D8FF4}" type="datetime'45'''''''''''''''''''',''''''''''1''''''%''''''''''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5,1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81" name="Metin Yer Tutucusu 189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923925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F95D5B-B68D-4491-9B54-5F39A6B370D3}" type="datetime'''''''''''''''''''''''''''2''''''0''0''5'''''''''''''''">
              <a:rPr lang="en-US" altLang="en-US" sz="1500" b="1">
                <a:latin typeface="Times New Roman"/>
                <a:cs typeface="Times New Roman"/>
                <a:sym typeface="Times New Roman"/>
              </a:rPr>
              <a:pPr/>
              <a:t>2005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7" name="Metin Yer Tutucusu 122"/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3019425" y="36068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EAC1A0-9B7E-42D2-9E11-CFEF5A7861C1}" type="datetime'''''''''5''3'''''''''''''''''''''''''''''''',''''3%''''''''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53,3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75" name="Metin Yer Tutucusu 183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38100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37968D-5BDB-42D8-B7E1-2E26F27C29EA}" type="datetime'''''''''''''''''''20''''''''''''''''0''''''''''''''4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4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6" name="Metin Yer Tutucusu 111"/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847725" y="23272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E898F7-C675-4732-8493-41D7BCCCEA21}" type="datetime'''55,''''7''''''''''''''''''%''''''''''''''''''''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5,7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" name="Metin Yer Tutucusu 28"/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304800" y="376555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258727-0C0C-4B09-B1BB-36ABA476AB81}" type="datetime'4''2'''''''''''''''''''''''''''''''''''''''''''',3''%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42,3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" name="Metin Yer Tutucusu 29"/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304800" y="23463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D8915E-3E65-41B5-AE9D-8041FD2CC3DB}" type="datetime'''''''''''''''''5''''''''''''7,''''1''''''''''%''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7,1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1" name="Metin Yer Tutucusu 193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5267325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6D1F46-AE85-48DD-B511-66D4D25A60AB}" type="datetime'2''''0''''''''''''''''''''''''''''''1''3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3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3" name="Metin Yer Tutucusu 2"/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5191125" y="22193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3EEA0A-F7D2-480C-8ED8-853DCF5D5C54}" type="datetime'''''''''''''''''''''''4''8'''''''''''''''',''1''''''%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8,1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8442248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Nesne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6490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8" name="think-cell Slide" r:id="rId76" imgW="416" imgH="416" progId="TCLayout.ActiveDocument.1">
                  <p:embed/>
                </p:oleObj>
              </mc:Choice>
              <mc:Fallback>
                <p:oleObj name="think-cell Slide" r:id="rId7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ikdörtgen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4" name="Nesne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13611409"/>
              </p:ext>
            </p:extLst>
          </p:nvPr>
        </p:nvGraphicFramePr>
        <p:xfrm>
          <a:off x="0" y="1231900"/>
          <a:ext cx="9067852" cy="35686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" name="Çizelge" r:id="rId78" imgW="9067852" imgH="3568654" progId="MSGraph.Chart.8">
                  <p:embed followColorScheme="full"/>
                </p:oleObj>
              </mc:Choice>
              <mc:Fallback>
                <p:oleObj name="Çizelge" r:id="rId78" imgW="9067852" imgH="356865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0" y="1231900"/>
                        <a:ext cx="9067852" cy="35686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2" name="Düz Bağlayıcı 111"/>
          <p:cNvCxnSpPr/>
          <p:nvPr>
            <p:custDataLst>
              <p:tags r:id="rId5"/>
            </p:custDataLst>
          </p:nvPr>
        </p:nvCxnSpPr>
        <p:spPr bwMode="auto">
          <a:xfrm>
            <a:off x="3165475" y="1612900"/>
            <a:ext cx="0" cy="285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Düz Bağlayıcı 69"/>
          <p:cNvCxnSpPr/>
          <p:nvPr>
            <p:custDataLst>
              <p:tags r:id="rId6"/>
            </p:custDataLst>
          </p:nvPr>
        </p:nvCxnSpPr>
        <p:spPr bwMode="auto">
          <a:xfrm>
            <a:off x="2616200" y="1612900"/>
            <a:ext cx="0" cy="254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Düz Bağlayıcı 8"/>
          <p:cNvCxnSpPr/>
          <p:nvPr>
            <p:custDataLst>
              <p:tags r:id="rId7"/>
            </p:custDataLst>
          </p:nvPr>
        </p:nvCxnSpPr>
        <p:spPr bwMode="auto">
          <a:xfrm>
            <a:off x="8642350" y="1612900"/>
            <a:ext cx="0" cy="920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Düz Bağlayıcı 154"/>
          <p:cNvCxnSpPr/>
          <p:nvPr>
            <p:custDataLst>
              <p:tags r:id="rId8"/>
            </p:custDataLst>
          </p:nvPr>
        </p:nvCxnSpPr>
        <p:spPr bwMode="auto">
          <a:xfrm>
            <a:off x="4260850" y="1612900"/>
            <a:ext cx="0" cy="285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Düz Bağlayıcı 63"/>
          <p:cNvCxnSpPr/>
          <p:nvPr>
            <p:custDataLst>
              <p:tags r:id="rId9"/>
            </p:custDataLst>
          </p:nvPr>
        </p:nvCxnSpPr>
        <p:spPr bwMode="auto">
          <a:xfrm>
            <a:off x="2070100" y="1612900"/>
            <a:ext cx="0" cy="254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Düz Bağlayıcı 45"/>
          <p:cNvCxnSpPr/>
          <p:nvPr>
            <p:custDataLst>
              <p:tags r:id="rId10"/>
            </p:custDataLst>
          </p:nvPr>
        </p:nvCxnSpPr>
        <p:spPr bwMode="auto">
          <a:xfrm>
            <a:off x="425450" y="1612900"/>
            <a:ext cx="0" cy="254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Düz Bağlayıcı 51"/>
          <p:cNvCxnSpPr/>
          <p:nvPr>
            <p:custDataLst>
              <p:tags r:id="rId11"/>
            </p:custDataLst>
          </p:nvPr>
        </p:nvCxnSpPr>
        <p:spPr bwMode="auto">
          <a:xfrm>
            <a:off x="974725" y="1612900"/>
            <a:ext cx="0" cy="254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Düz Bağlayıcı 117"/>
          <p:cNvCxnSpPr/>
          <p:nvPr>
            <p:custDataLst>
              <p:tags r:id="rId12"/>
            </p:custDataLst>
          </p:nvPr>
        </p:nvCxnSpPr>
        <p:spPr bwMode="auto">
          <a:xfrm>
            <a:off x="3714750" y="1612900"/>
            <a:ext cx="0" cy="285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Düz Bağlayıcı 57"/>
          <p:cNvCxnSpPr/>
          <p:nvPr>
            <p:custDataLst>
              <p:tags r:id="rId13"/>
            </p:custDataLst>
          </p:nvPr>
        </p:nvCxnSpPr>
        <p:spPr bwMode="auto">
          <a:xfrm>
            <a:off x="1524000" y="1612900"/>
            <a:ext cx="0" cy="254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Düz Bağlayıcı 22"/>
          <p:cNvCxnSpPr/>
          <p:nvPr>
            <p:custDataLst>
              <p:tags r:id="rId14"/>
            </p:custDataLst>
          </p:nvPr>
        </p:nvCxnSpPr>
        <p:spPr bwMode="auto">
          <a:xfrm flipH="1">
            <a:off x="8845550" y="1638300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Düz Bağlayıcı 7"/>
          <p:cNvCxnSpPr/>
          <p:nvPr>
            <p:custDataLst>
              <p:tags r:id="rId15"/>
            </p:custDataLst>
          </p:nvPr>
        </p:nvCxnSpPr>
        <p:spPr bwMode="auto">
          <a:xfrm>
            <a:off x="8096250" y="1612900"/>
            <a:ext cx="0" cy="317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Düz Bağlayıcı 6"/>
          <p:cNvCxnSpPr/>
          <p:nvPr>
            <p:custDataLst>
              <p:tags r:id="rId16"/>
            </p:custDataLst>
          </p:nvPr>
        </p:nvCxnSpPr>
        <p:spPr bwMode="auto">
          <a:xfrm>
            <a:off x="7546975" y="1612900"/>
            <a:ext cx="0" cy="793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Düz Bağlayıcı 11"/>
          <p:cNvCxnSpPr/>
          <p:nvPr>
            <p:custDataLst>
              <p:tags r:id="rId17"/>
            </p:custDataLst>
          </p:nvPr>
        </p:nvCxnSpPr>
        <p:spPr bwMode="auto">
          <a:xfrm>
            <a:off x="6997700" y="1612900"/>
            <a:ext cx="0" cy="793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Düz Bağlayıcı 4"/>
          <p:cNvCxnSpPr/>
          <p:nvPr>
            <p:custDataLst>
              <p:tags r:id="rId18"/>
            </p:custDataLst>
          </p:nvPr>
        </p:nvCxnSpPr>
        <p:spPr bwMode="auto">
          <a:xfrm>
            <a:off x="6451600" y="1612900"/>
            <a:ext cx="0" cy="984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Düz Bağlayıcı 199"/>
          <p:cNvCxnSpPr/>
          <p:nvPr>
            <p:custDataLst>
              <p:tags r:id="rId19"/>
            </p:custDataLst>
          </p:nvPr>
        </p:nvCxnSpPr>
        <p:spPr bwMode="auto">
          <a:xfrm>
            <a:off x="5905500" y="1612899"/>
            <a:ext cx="0" cy="635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Düz Bağlayıcı 193"/>
          <p:cNvCxnSpPr/>
          <p:nvPr>
            <p:custDataLst>
              <p:tags r:id="rId20"/>
            </p:custDataLst>
          </p:nvPr>
        </p:nvCxnSpPr>
        <p:spPr bwMode="auto">
          <a:xfrm>
            <a:off x="5356225" y="1612900"/>
            <a:ext cx="0" cy="285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Düz Bağlayıcı 161"/>
          <p:cNvCxnSpPr/>
          <p:nvPr>
            <p:custDataLst>
              <p:tags r:id="rId21"/>
            </p:custDataLst>
          </p:nvPr>
        </p:nvCxnSpPr>
        <p:spPr bwMode="auto">
          <a:xfrm>
            <a:off x="4806950" y="1612900"/>
            <a:ext cx="0" cy="254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Düz Bağlayıcı 165"/>
          <p:cNvCxnSpPr/>
          <p:nvPr>
            <p:custDataLst>
              <p:tags r:id="rId22"/>
            </p:custDataLst>
          </p:nvPr>
        </p:nvCxnSpPr>
        <p:spPr bwMode="auto">
          <a:xfrm flipV="1">
            <a:off x="146050" y="1638300"/>
            <a:ext cx="107950" cy="1143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Metin Yer Tutucusu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178550" y="38004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3500B6-4A4A-48C7-A6C6-4EDA6B894B06}" type="datetime'''''''4''''''''''''''''8,''''''''7''''''''%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48,7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4" name="Metin Yer Tutucusu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178550" y="236855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434F2E-003C-4A40-9EA5-6EE283661DBD}" type="datetime'''4''''''''''''''''''6,''''''5''%''''''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6,5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2" name="Metin Yer Tutucusu 179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80085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EFEA26-F49D-4E59-A394-4C6FBEF40271}" type="datetime'2''''''''''0''''''1''''''''''''''''''''''''''''6''''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6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7" name="Metin Yer Tutucusu 12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632450" y="387985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053497-EC75-4997-AC48-4BF2AAE7EDCB}" type="datetime'''''''43'''''''''',''4''''''%''''''''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43,4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1" name="Metin Yer Tutucusu 177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61010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12BB0E-D362-4958-8F8F-B02E60CE3057}" type="datetime'''''2''''''''''''''''''0''12''''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1" name="Metin Yer Tutucusu 116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533900" y="37115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E0B52B-0CF6-4C6C-AB27-0AC5CFB42897}" type="datetime'''''''''''''''''''''''54,''''''''''''''''6''''''''%''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54,6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0" name="Metin Yer Tutucusu 176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070350" y="4759325"/>
            <a:ext cx="382588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590C3B-7429-46F3-A3E1-041E00AA5DF2}" type="datetime'''''2''''''''''''''01''1''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8" name="Metin Yer Tutucusu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724650" y="233680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6F2953-7A4B-4A8B-B21E-B747D19CBF7E}" type="datetime'''4''''''''''''''''''''''''''''6'''''''''',''7''%''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6,7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5" name="Metin Yer Tutucusu 110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441700" y="414655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B2EC16-FCBB-44B9-8BFE-F33F681C5ECF}" type="datetime'''''''''''2''''''''''5,''8''''''''''''''''''%'">
              <a:rPr lang="en-US" sz="1500">
                <a:latin typeface="Times New Roman"/>
                <a:cs typeface="Times New Roman"/>
                <a:sym typeface="Times New Roman"/>
              </a:rPr>
              <a:pPr/>
              <a:t>25,8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7" name="Metin Yer Tutucusu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724650" y="37877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8B92F9-1E32-45A4-B417-73DFDCFB72F3}" type="datetime'''4''''''9'''''''''''''''''',6''%''''''''''''''''''''''''''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49,6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1" name="Metin Yer Tutucusu 179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25475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E268B3-C247-47F0-A632-E6A5822C5E1B}" type="datetime'''2''''''''0''''1''''''''''5''''''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5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3" name="Metin Yer Tutucusu 179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70865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4DDD8E-3D57-41EB-AF71-73D97A81290A}" type="datetime'2''''''''0''''''''''''''''''''1''''''''4''''''''''''''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8" name="Metin Yer Tutucusu 123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632450" y="241300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B952C3-1975-4DE5-8B60-FD6895D04722}" type="datetime'''''''''''''''''''''''''5''''''''''''''4'''',0''''''''''%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4,0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2" name="Metin Yer Tutucusu 178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159375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966244-CBBD-4B65-9905-F25F4C33434F}" type="datetime'''''2''''''''''''''''''0''''1''''''''''''''3''''''''''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5" name="Metin Yer Tutucusu 120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083175" y="232410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877499-B602-4512-AEF5-01DB6BB50496}" type="datetime'''''''''''''52'''''''',''''''''''''8''%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2,8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8" name="Metin Yer Tutucusu 113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987800" y="39909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6CAAC0-E4EB-4109-A5A9-8FF71ED7C3E0}" type="datetime'''''''''''''3''6,''''''''''''''''2''''''''''''''''%''''''''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36,2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4" name="Metin Yer Tutucusu 119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083175" y="38258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1DFC71-CCAF-44D8-B93A-FD06C7E17E14}" type="datetime'''''''''''''4''''''''''''7'''',''''''''''0''%''''''''''''''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47,0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9" name="Metin Yer Tutucusu 114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3987800" y="248920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B07258-6FA7-4E8A-8A99-FE37B8CC5B22}" type="datetime'63'',''7''''''''%''''''''''''''''''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63,7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8" name="Metin Yer Tutucusu 175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51790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E9FD00-A656-406A-A7DD-A73A37D0D506}" type="datetime'''20''''''''''''''''''''''''''''''''1''''''''''''''''''''0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2" name="Metin Yer Tutucusu 117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533900" y="22066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4CE975-5B6C-478D-8EB7-4BA3030D3D3A}" type="datetime'''''4''''5'',''''3''''''''''''''%''''''''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5,3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27" name="Metin Yer Tutucusu 10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797050" y="248285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FC9BD2-6B0D-4058-94DE-721344542832}" type="datetime'''''6''3'''''''''''''''',''''''7%'">
              <a:rPr 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63,7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5" name="Metin Yer Tutucusu 17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87325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0C249D-0D26-45D9-8D4F-E850A8CAC17C}" type="datetime'''''''''2''0''''''0''''''''''''''''''''''''''''7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7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6" name="Metin Yer Tutucusu 173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241935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20072A-999E-42F0-820C-2C0006F90866}" type="datetime'''''''''''''2''''''''''0''''0''''''''''8''''''''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8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21" name="Metin Yer Tutucusu 96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701675" y="229235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5156AD-E6C1-47FF-92BA-A71E90510980}" type="datetime'''''5''''''''''1'''''''''''''',''''0''''''''''''%'">
              <a:rPr 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1,0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23" name="Metin Yer Tutucusu 98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250950" y="39401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0CE37B-E950-46B4-B5B8-5C5B02786015}" type="datetime'3''''9'''''''',''''''''4''''''''%'''''''''''''">
              <a:rPr lang="en-US" sz="1500">
                <a:latin typeface="Times New Roman"/>
                <a:cs typeface="Times New Roman"/>
                <a:sym typeface="Times New Roman"/>
              </a:rPr>
              <a:pPr/>
              <a:t>39,4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29" name="Metin Yer Tutucusu 104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2343150" y="411162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380B5E-CE83-43F3-9395-A5A642365EE3}" type="datetime'''''''''''''''2''''8'',''''''''''''''2''''''''''%'''''''''">
              <a:rPr lang="en-US" sz="1500">
                <a:latin typeface="Times New Roman"/>
                <a:cs typeface="Times New Roman"/>
                <a:sym typeface="Times New Roman"/>
              </a:rPr>
              <a:pPr/>
              <a:t>28,2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24" name="Metin Yer Tutucusu 99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250950" y="24352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01CE67-38CC-47EC-983F-0E8700069E5A}" type="datetime'6''''0'''''''''''''',''''''''6''''''''''''''''''''''''''%'''''">
              <a:rPr 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60,6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3" name="Metin Yer Tutucusu 171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32715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2D8F4A-704D-4963-9DE9-8394F6BA8DEE}" type="datetime'''''''''''2''''''''''0''''''0''''''''6''''''''''''''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6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7" name="Metin Yer Tutucusu 174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2968625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2F6285-EEEA-46E5-BC8C-2F8767ACC2E0}" type="datetime'''''''''''2''''''''''''''''''''''00''''''''''9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9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0" name="Metin Yer Tutucusu 105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2343150" y="26066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43CA61-6F86-49BD-A3C6-AB8B16FFC65A}" type="datetime'''7''1'''''''''''''',''''''''8''%'''''''">
              <a:rPr 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71,8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2" name="Metin Yer Tutucusu 170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77875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B2792C-6ACF-42A7-A7EE-B0A8331D1881}" type="datetime'''''''''''''''''''''''''''''2''''''''''''''''0''''''0''5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5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1" name="Metin Yer Tutucusu 169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22860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7D562F-7D60-4915-8DDB-FCC61A62761A}" type="datetime'''''''''''''''''''20''''''''''''''''0''''''''''''''4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4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" name="Metin Yer Tutucusu 28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152400" y="409892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A00467-A971-4A96-B0A8-2FCDBBA2935E}" type="datetime'''''''2''''''''8'''''''''''''''''''''''',9''''''''%'''''''">
              <a:rPr lang="en-US" sz="1500">
                <a:latin typeface="Times New Roman"/>
                <a:cs typeface="Times New Roman"/>
                <a:sym typeface="Times New Roman"/>
              </a:rPr>
              <a:pPr/>
              <a:t>28,9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" name="Metin Yer Tutucusu 29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152400" y="25939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D3A5F3-278A-40F6-A64E-DBDAC8B4FA10}" type="datetime'7''''''''''1'''''''''''',''''''''''''''''1''''''''''%'">
              <a:rPr 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71,1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20" name="Metin Yer Tutucusu 95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701675" y="37973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C99E4D-528F-4ACD-BBC2-38FE6D4CBC1E}" type="datetime'''''''''''''''''''''4''''''9,''''''''''''''0%'''''">
              <a:rPr lang="en-US" sz="1500">
                <a:latin typeface="Times New Roman"/>
                <a:cs typeface="Times New Roman"/>
                <a:sym typeface="Times New Roman"/>
              </a:rPr>
              <a:pPr/>
              <a:t>49,0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3" name="Metin Yer Tutucusu 108"/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2892425" y="24479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7FFAEA-6A57-4EBF-BF1C-7667F6A4D77F}" type="datetime'''''''''''6''''''''''0'''''''''''''''''''',''''9%'''''">
              <a:rPr 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60,9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2" name="Metin Yer Tutucusu 107"/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2892425" y="39497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704293-8309-4E02-B9D7-49D410612E7D}" type="datetime'38'''''''''',''''9%'''''''''''''''''''''''''">
              <a:rPr lang="en-US" sz="1500">
                <a:latin typeface="Times New Roman"/>
                <a:cs typeface="Times New Roman"/>
                <a:sym typeface="Times New Roman"/>
              </a:rPr>
              <a:pPr/>
              <a:t>38,9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6" name="Metin Yer Tutucusu 111"/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3441700" y="26447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89DC53-C94B-4475-8152-AE229A81B501}" type="datetime'''''''''''''''''''''''7''''4'',''0''''%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74,0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26" name="Metin Yer Tutucusu 101"/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797050" y="39878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177289-8CF1-4AAF-872D-8CD99DD13CE9}" type="datetime'''''''''3''''''''''''''6'''''''''',3''''''''''''''''%'''">
              <a:rPr lang="en-US" sz="1500">
                <a:latin typeface="Times New Roman"/>
                <a:cs typeface="Times New Roman"/>
                <a:sym typeface="Times New Roman"/>
              </a:rPr>
              <a:pPr/>
              <a:t>36,3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2" name="Metin Yer Tutucusu 2"/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8369300" y="40671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F7D860-B4EB-4F92-B4C0-D85CBFDECF8C}" type="datetime'''''3''''''0'''''''''''''''''''''''''''',''9%''''''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30,9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1" name="Metin Yer Tutucusu 179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8413750" y="4759325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AD0F04-3424-4CE5-BFF7-AE9B69354449}" type="datetime'''''2''''''''''''01''''''7''-''''''Q''''''''''''''3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7-Q3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3" name="Metin Yer Tutucusu 2"/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8369300" y="262890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2BD2D9-A2D1-41F0-8819-EE4374C25E20}" type="datetime'''''''''''''''64'''''''',''7''''''''''%''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64,7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0" name="Metin Yer Tutucusu 2"/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7273925" y="38735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14B6D9-71F3-470D-995D-5496DD2ECBC9}" type="datetime'''''4''''''3'''''''''''''''''',''''''''''''''9''''''''''%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43,9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7" name="Metin Yer Tutucusu 2"/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7273925" y="24225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8AEDB3-534F-4D48-B336-EB358C47F43B}" type="datetime'''5''''''''''''''2'''''''',''''''''''''''5''''''%''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2,5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5" name="Metin Yer Tutucusu 180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-379413" y="1638300"/>
            <a:ext cx="500063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C03CFAC-C281-421C-818E-5045B7FFE116}" type="datetime'''T''ar''''''''''''''''''''''''''''''ım''''''''''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arım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6" name="Metin Yer Tutucusu 181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-430213" y="2593975"/>
            <a:ext cx="550863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323AA71-8873-4461-8EA6-C8D52828C19C}" type="datetime'''''''''S''an''''a''''''''''''''''''y''''''''''''i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anayi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" name="Metin Yer Tutucusu 12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9099550" y="1524000"/>
            <a:ext cx="4445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A775420-403B-4B50-BAC6-D511A3660DD3}" type="datetime'''''''''''''''''''''''''''''''''''''10''''''''''0%'''''''''''">
              <a:rPr lang="en-US" sz="1500">
                <a:latin typeface="Times New Roman"/>
                <a:cs typeface="Times New Roman"/>
                <a:sym typeface="Times New Roman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2" name="Metin Yer Tutucusu 2"/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7823200" y="38766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A6F9ED-B108-48D9-B9BE-A5555C21F34B}" type="datetime'''''''''4''''''3'''''',''''''''''''''''''''''''''''6''''%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43,6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6" name="Metin Yer Tutucusu 179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7318375" y="4759325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C461AD-EE48-42A7-967F-3237EDEE92EB}" type="datetime'''''''''20''''''1''''7''''''''''''-Q''''''''1''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7-Q1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3" name="Metin Yer Tutucusu 2"/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7823200" y="23780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1E1F68-B1B9-4901-8D23-B7700753C560}" type="datetime'''''''''''55'''''''''''''''''''''''',''9''%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5,9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1" name="Metin Yer Tutucusu 179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7867650" y="4759325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EDDB46-3E76-4494-8901-5F7881EE7030}" type="datetime'''2''0''''17-''''''''Q''''''''''''2''''''''''''''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7-Q2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7" name="Metin Yer Tutucusu 182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-690563" y="4098925"/>
            <a:ext cx="811213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123E4DB-8F98-4641-B848-7E8BB1BD4D1D}" type="datetime'''H''''''''''''''''iz''m''''''''''etle''''''''''''''r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Hizmetler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51293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Nesne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8693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" name="think-cell Slide" r:id="rId18" imgW="416" imgH="416" progId="TCLayout.ActiveDocument.1">
                  <p:embed/>
                </p:oleObj>
              </mc:Choice>
              <mc:Fallback>
                <p:oleObj name="think-cell Slide" r:id="rId18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ikdörtgen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5" name="Nesne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41578873"/>
              </p:ext>
            </p:extLst>
          </p:nvPr>
        </p:nvGraphicFramePr>
        <p:xfrm>
          <a:off x="0" y="1308100"/>
          <a:ext cx="9220148" cy="34418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5" name="Çizelge" r:id="rId20" imgW="9220148" imgH="3441885" progId="MSGraph.Chart.8">
                  <p:embed followColorScheme="full"/>
                </p:oleObj>
              </mc:Choice>
              <mc:Fallback>
                <p:oleObj name="Çizelge" r:id="rId20" imgW="9220148" imgH="344188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1308100"/>
                        <a:ext cx="9220148" cy="34418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Metin Yer Tutucusu 207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580313" y="4716463"/>
            <a:ext cx="747713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F047C9-E459-4BB2-87D6-DE2566625719}" type="datetime'''''A''ğ''''''''''u''s''''t''''''''''''o''s''-201''''8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Ağustos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6" name="Metin Yer Tutucusu 205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105525" y="4716463"/>
            <a:ext cx="725488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9E9E8F-602D-4BF3-9DB5-D87526F1F0B7}" type="datetime'''''Ha''''z''''''''''''i''''''''ra''n''-20''18''''''''''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Haziran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2" name="Metin Yer Tutucusu 201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224213" y="4716463"/>
            <a:ext cx="544513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2276D8-0F9E-4C8A-821A-2F5FEA553A8C}" type="datetime'Şu''''ba''''''t''''''-2''''0''''1''''''''8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Şubat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3" name="Metin Yer Tutucusu 20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000500" y="4716463"/>
            <a:ext cx="477838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3BFB6A-88C7-4EC6-AFC4-D767E3538ACD}" type="datetime'''M''''a''''''''r''t''''-''2''''0''''''''''''''''18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Mart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1" name="Metin Yer Tutucusu 200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498725" y="4716463"/>
            <a:ext cx="509588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82B7C3-664F-4EFD-857E-DE4D91B67287}" type="datetime'O''''''''''''''c''a''''k''-''''2''0''''''''''''1''''''8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Ocak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9" name="Metin Yer Tutucusu 1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435975" y="4716463"/>
            <a:ext cx="522288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A651F6-3083-4A3E-A9C3-2DA1A41DA63D}" type="datetime'''''''Ey''''l''''''ül''''-''2''''0''''''''''''''''18''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Eylül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4" name="Metin Yer Tutucusu 20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703763" y="4716463"/>
            <a:ext cx="555625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57BD9A-39DD-4EBD-AAB1-CA4309687E2C}" type="datetime'''N''''''''''i''''''''s''a''''n''-2''''''0''18''''''''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Nisan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5" name="Metin Yer Tutucusu 204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429250" y="4716463"/>
            <a:ext cx="590550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BE67FB-60FD-4179-9F50-A1B30FD12850}" type="datetime'''''''M''''a''y''''''''''''ı''s''-2''0''''''1''''8''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Mayıs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7" name="Metin Yer Tutucusu 206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815138" y="4716463"/>
            <a:ext cx="790575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85B632-F975-4EA3-A027-D32725247068}" type="datetime'''Tem''''''mu''''z''''''''''''''''''-''''''''2''''0''''18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Temmuz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8" name="Metin Yer Tutucusu 19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60438" y="4716463"/>
            <a:ext cx="612775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9BDB48-1AAD-490D-A54D-4519A6F680AC}" type="datetime'''''''''''''Kas''''ı''''m''-2''0''''17''''''''''''''''''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Kasım-2017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7" name="Metin Yer Tutucusu 197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63525" y="4716463"/>
            <a:ext cx="522288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C582F2-A0A9-4C65-8094-6AB93ED72D47}" type="datetime'''''''E''''''k''''im''''-2''''''''''01''''''7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Ekim-2017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9" name="Metin Yer Tutucusu 199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709738" y="4716463"/>
            <a:ext cx="601663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05A9B7-E2DF-4A38-8A8E-03BFCCFE5120}" type="datetime'''''A''r''''al''''''''''ı''''''k-''2''''0''''''''1''''''''7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Aralık-2017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593017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d.%#m.%Y&lt;/m_strFormatTime&gt;&lt;/m_precDefaultDate&gt;&lt;m_precDefaultYear/&gt;&lt;m_precDefaultQuarter/&gt;&lt;m_precDefaultMonth/&gt;&lt;m_precDefaultWeek/&gt;&lt;m_precDefaultDay/&gt;&lt;m_mruColor&gt;&lt;m_vecMRU length=&quot;6&quot;&gt;&lt;elem m_fUsage=&quot;1.89999999999999990000E+000&quot;&gt;&lt;m_msothmcolidx val=&quot;0&quot;/&gt;&lt;m_rgb r=&quot;56&quot; g=&quot;69&quot; b=&quot;f1&quot;/&gt;&lt;m_ppcolschidx tagver0=&quot;23004&quot; tagname0=&quot;m_ppcolschidxUNRECOGNIZED&quot; val=&quot;0&quot;/&gt;&lt;m_nBrightness val=&quot;0&quot;/&gt;&lt;/elem&gt;&lt;elem m_fUsage=&quot;1.18754100000000020000E+000&quot;&gt;&lt;m_msothmcolidx val=&quot;0&quot;/&gt;&lt;m_rgb r=&quot;fd&quot; g=&quot;c7&quot; b=&quot;b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bb&quot; g=&quot;ca&quot; b=&quot;fb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c1&quot; g=&quot;b&quot; b=&quot;2b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2b&quot; g=&quot;f3&quot; b=&quot;f9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e9&quot; g=&quot;5&quot; b=&quot;3f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KluM.unE.K07JcMq61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7ySHUnK02BpfH3rIsq8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j5avj7ikih.4Nn4mYxu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cGcaIqTbiu9.Ovfvy4C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_x2H8DBUG9yi.Ac0_vK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RGrjs0MkeTrD.qujWeI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..9qgN6UO7W03skQeS4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5ETDJmkESZiVh5US802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sq7dzBQ06FDzSqjRhyD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PhAOrhyE.QV6iPzBI1X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byuaGl1kyJCI1xKLxc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9Rd6Pr0ka.ZorpLPwg6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4U8BmsTE.Xbr5iB5jF7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TASmZ9S0WtjcLnPQln2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tWTb4IQqC2CDScP7hG.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NfZTNORuSTG43IG7_mS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fJy5ZA_06GGG0yrLCP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v4PY30ZkKhwj0YLCfi3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B6QWSAmECA6mBz_JC6B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ioFf6Cc0GIngWJypbHv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XET5PQSyaBy4L01dG24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bMRRf0ScyQjmdW0zCC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nFHI2ZIEaPhmKmSLqp3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c_.LuyReuf0ORRR1eaf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EaygSAXUS29KqwW_xA8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KhxScT3E2AIUTrt7mvx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hAh0FCNUaL5SwdIter6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0Xt.EyPUGzgCRmYhiIC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8TWgHyRHaBOSHLyfHAp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dZTFy.Dkqb0Ud5Wycou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FXf68oQhyiR5LSQ2bQv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hO8xseS0yMlxXTwd8Nz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JvBg_YLUKNq7Lp.Qcl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8fAWUNvUSc84Er7ucZU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nyYxw93kiDlILY5cCor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VrUFPKqUakzOCrU.2Fw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CpWsLW1UCdforORCY9G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.hFuHjxU6nnL5KddeLz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9BqgtfgE6pg76Hu0hc6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BVHcuZ0Ee0eTXpc7hs7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O15.5mXkuiOSdRs5Ki2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FWKfz9U0aqyoX.YawOY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SYEMiG9E286sKm4ogWK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b03Erv5kGwMEUEhA4Im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y2_S_kzEyzGoPS0iyjs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dkJV0z4kuExNxGMl.Hh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B.0qO5T0afMjJNAlVQF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hwur_ZuUWtC2_msbbfX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mRamHe5E63OdQt6J2yL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BJ7nxv1EaZzjnoKbep8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aZXmI0X0.ej6091x6VC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DQMjQoj0aEQ_RtfXN.i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81y1r6CESmjkCqYy9BB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jy5yRU70.J0yjypnEbr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HgqhNasUi8Ngno0fsN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ULU_.l2U2rR66Hp6L.2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ABZvifckyeXOJ2OHMnb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Aw43uGd0KQ3Vz8.xPtl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_xgcl_Ak.oxGXsEb4_R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XPXgtvmU2PkQcHwATCc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KW8Pa01U.F0pz.8jTCw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oe.kQRxUm7ijhXV9QXc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_uPE6bxUilH8uO8xN2a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z1fL7nQwarHiuzu1t53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w9bBJ8TGe.8dXUA6kpD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nBAoYySZaCFqOB7AC4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3uvay94UC5ya5fagXD6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CiCfScScKFCz4_RIsPv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o38UluR2aFjl7UkrnZ3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gbmnbxEe3iWWtNGkNv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_rwklJ_0CFmzD4Pbpql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HG6PQfL0GXrrS.iaazo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RmCV_KQ1u_5iAKwlKSu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t6E9WuQlGE9O6CEd.lw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65khUGTJag4JJS6d2FD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66k8SGTqSTGCZzqPFn2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BOc.qDJ0m69nQp_9sV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lmwYZXLk.nqR7K1KD1q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OwEQNbkUaJfN87NXEr.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j3HQVgv02D5RYCMtivb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IkrzpcVkew.EOqOrdlP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zDOYI7d0WHbq2uNNj4b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eY7TScBUqnxbN.Ab.MR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nIPQbybkioE91anPRqE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vvNTrgLEmz8714lCqa_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TpM7RBVE27i9_dCd.9W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NjEMLWukSnD5bAlSuD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0ppaSuuUe8IEEYSktmQ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EgrVKKFEyG20lsF8kwk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MIf2SQokaGqNnJgfMf0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R5RuC7506CwG4xQTUtt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.XTsobkKyUjFDkA2J0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119r5hIES4jEcosLSr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N9t2Jbl0qnIL3nIQYh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9ODcu_ukCL08TtrG_e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TO53SORU2SZsN_ocAZR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N09cVMCkGoFdN06kPD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MrXDD3AUmHqJ7CJj36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OwEQNbkUaJfN87NXEr.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q82wHk9ECG.1xJytza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M9kFBlIkSFixp3yCc2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ok4WA1j0y6ORwT1Xh57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YUtlOzSr2eIajIuKqn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v4PY30ZkKhwj0YLCfi3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T_EcSGUEu0u1cYoSUbm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fJy5ZA_06GGG0yrLCP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byuaGl1kyJCI1xKLxc1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L5yh21SsC6J1B3iU4_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a8u_DvSHqFb.CbO7FP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gobUF8Qs60Qs.xXgumD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LEeSvz4kWSzNMdu6xH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Thdk._S52YFocFQ2sCC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b4Zm7GQMqST7fdiHPu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g7s49RBk6FadxUzMfM1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Qm3lnGQ02zrjipjRt2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w91zDBSxeIvAZTRCQh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I8q3ZT62_qw_djHGKn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O0cz.HQRuKTdvC47xzJ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pJPhrWSfmPvpUyuDvnD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zVyvbvSkKrRSTFliRiI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q_JgWOR42OkHmozq_Y4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PL4clLRN6_0fV8Ol6YE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HG6PQfL0GXrrS.iaaz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N_oKBuk0GcHIcbLfxzE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FS8hkYPEC6iY219Qt8I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5kNtBkSkG9D2Ny.FdgC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U9LFLhTESNpY0qK3jHx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3Zv4vmlkyk_MYb4G.EN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CpWsLW1UCdforORCY9G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PmvXTRq02ilxMIvZAsa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gESUuTQXuSUpzejbSE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Aqa8qySMK7UxcThMYY7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dZTFy.Dkqb0Ud5Wycou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6bKuQajE6aXXQ_ZWyS_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1p029.l0.4E6NwFy53d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9BqgtfgE6pg76Hu0hc6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v1ZADoRgCd.Wy5XCiph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hAh0FCNUaL5SwdIter6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y0pz0ASq6t8AIicqo2v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N5PoYUTyWolL2EhQcN5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9ZrPfYlkSs5JSEKyl83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vsbYYvQyOTGJ8PRUdXw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ynCdCnQhKxskQahTkU7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zhDnhESLGHF3egvDukV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ORLJBUS6WJzCKp4QPb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tTGpI9x0uv27rNK8MOr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5dlMiLRmKlZSCMNPRyF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uybuuYQEuHkVJggDzyc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WSsMwPReKF9q_h50A.A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R_tNuBRDumAbAHGjdLn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GPZuYhTwucnhocbDjf8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_bj3ErSqatw.Dy9AkwF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3tMHioPUSLsTzUWB25N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cdMX23Q9eqOC5TqUENK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yW0o_VRjONIuX3SwoRW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lIlECoTZGSjPNVuoyC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i1prSYt0OrPZEI_ZFTA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Mn.kz4QSebyNitLMD4.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5r4D.pSlWRMeot7BvLT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Jv5y9XS42Xuc6KnSFr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qpIkldQxidhud32xPHU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C05ck9TbadDUccvIji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.hFuHjxU6nnL5KddeLz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nyYxw93kiDlILY5cCor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BVHcuZ0Ee0eTXpc7hs7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FWKfz9U0aqyoX.YawOY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fw_wWJUmnttDDaNa0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JwrxrLgEuFaFPlE8f4R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EaygSAXUS29KqwW_xA8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UyRr7OrEmV_ysXHUyKh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oe.kQRxUm7ijhXV9QXc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ABZvifckyeXOJ2OHMnb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Aw43uGd0KQ3Vz8.xPtl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q4492bSuaGj2X7VHaBf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4KB5qZTreaK8DOigENj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OwEQNbkUaJfN87NXEr.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q82wHk9ECG.1xJytzaGA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90</TotalTime>
  <Words>142</Words>
  <Application>Microsoft Office PowerPoint</Application>
  <PresentationFormat>Ekran Gösterisi (4:3)</PresentationFormat>
  <Paragraphs>134</Paragraphs>
  <Slides>4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Katıştırılmış OLE Hizmet Programları</vt:lpstr>
      </vt:variant>
      <vt:variant>
        <vt:i4>2</vt:i4>
      </vt:variant>
      <vt:variant>
        <vt:lpstr>Slayt Başlıkları</vt:lpstr>
      </vt:variant>
      <vt:variant>
        <vt:i4>4</vt:i4>
      </vt:variant>
    </vt:vector>
  </HeadingPairs>
  <TitlesOfParts>
    <vt:vector size="7" baseType="lpstr">
      <vt:lpstr>Ofis Teması</vt:lpstr>
      <vt:lpstr>think-cell Slide</vt:lpstr>
      <vt:lpstr>Microsoft Graph Chart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Asus11PC</dc:creator>
  <cp:lastModifiedBy>ASUS 14</cp:lastModifiedBy>
  <cp:revision>65</cp:revision>
  <dcterms:created xsi:type="dcterms:W3CDTF">2015-02-13T20:09:52Z</dcterms:created>
  <dcterms:modified xsi:type="dcterms:W3CDTF">2017-11-16T13:04:36Z</dcterms:modified>
</cp:coreProperties>
</file>